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guide id="13" orient="horz" pos="232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1570F41-582B-425C-80AE-4466BC4B269C}" v="49" dt="2023-03-09T23:31:14.18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0" d="100"/>
          <a:sy n="110" d="100"/>
        </p:scale>
        <p:origin x="132" y="750"/>
      </p:cViewPr>
      <p:guideLst>
        <p:guide orient="horz" pos="648"/>
        <p:guide pos="3552"/>
        <p:guide pos="7584"/>
        <p:guide orient="horz" pos="4032"/>
        <p:guide pos="96"/>
        <p:guide pos="2856"/>
        <p:guide pos="576"/>
        <p:guide orient="horz" pos="3840"/>
        <p:guide orient="horz" pos="816"/>
        <p:guide orient="horz" pos="1032"/>
        <p:guide orient="horz" pos="3600"/>
        <p:guide orient="horz" pos="232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E1570F41-582B-425C-80AE-4466BC4B269C}"/>
    <pc:docChg chg="undo custSel modSld">
      <pc:chgData name="Roberto Gallardo" userId="49a044883f185952" providerId="LiveId" clId="{E1570F41-582B-425C-80AE-4466BC4B269C}" dt="2023-03-09T23:31:23.137" v="465" actId="1036"/>
      <pc:docMkLst>
        <pc:docMk/>
      </pc:docMkLst>
      <pc:sldChg chg="modSp mod">
        <pc:chgData name="Roberto Gallardo" userId="49a044883f185952" providerId="LiveId" clId="{E1570F41-582B-425C-80AE-4466BC4B269C}" dt="2023-02-25T19:41:42.695" v="97" actId="20577"/>
        <pc:sldMkLst>
          <pc:docMk/>
          <pc:sldMk cId="2846901679" sldId="256"/>
        </pc:sldMkLst>
        <pc:spChg chg="mod">
          <ac:chgData name="Roberto Gallardo" userId="49a044883f185952" providerId="LiveId" clId="{E1570F41-582B-425C-80AE-4466BC4B269C}" dt="2023-02-25T19:41:42.695" v="97" actId="20577"/>
          <ac:spMkLst>
            <pc:docMk/>
            <pc:sldMk cId="2846901679" sldId="256"/>
            <ac:spMk id="7" creationId="{B1E0ABEC-554C-720A-2772-F0324C8E93CA}"/>
          </ac:spMkLst>
        </pc:spChg>
      </pc:sldChg>
      <pc:sldChg chg="addSp modSp mod">
        <pc:chgData name="Roberto Gallardo" userId="49a044883f185952" providerId="LiveId" clId="{E1570F41-582B-425C-80AE-4466BC4B269C}" dt="2023-03-09T23:25:57.984" v="104" actId="1076"/>
        <pc:sldMkLst>
          <pc:docMk/>
          <pc:sldMk cId="1418533539" sldId="271"/>
        </pc:sldMkLst>
        <pc:picChg chg="add mod">
          <ac:chgData name="Roberto Gallardo" userId="49a044883f185952" providerId="LiveId" clId="{E1570F41-582B-425C-80AE-4466BC4B269C}" dt="2023-03-09T23:25:57.984" v="104" actId="1076"/>
          <ac:picMkLst>
            <pc:docMk/>
            <pc:sldMk cId="1418533539" sldId="271"/>
            <ac:picMk id="6" creationId="{0016C34C-8B01-235B-60B7-8146BDAD49F6}"/>
          </ac:picMkLst>
        </pc:picChg>
      </pc:sldChg>
      <pc:sldChg chg="addSp modSp mod">
        <pc:chgData name="Roberto Gallardo" userId="49a044883f185952" providerId="LiveId" clId="{E1570F41-582B-425C-80AE-4466BC4B269C}" dt="2023-03-09T23:27:55.549" v="194" actId="1035"/>
        <pc:sldMkLst>
          <pc:docMk/>
          <pc:sldMk cId="2124848710" sldId="281"/>
        </pc:sldMkLst>
        <pc:picChg chg="add mod">
          <ac:chgData name="Roberto Gallardo" userId="49a044883f185952" providerId="LiveId" clId="{E1570F41-582B-425C-80AE-4466BC4B269C}" dt="2023-03-09T23:27:55.549" v="194" actId="1035"/>
          <ac:picMkLst>
            <pc:docMk/>
            <pc:sldMk cId="2124848710" sldId="281"/>
            <ac:picMk id="6" creationId="{5DFE7EFE-B3F3-E34A-A826-5D7FE499C88D}"/>
          </ac:picMkLst>
        </pc:picChg>
      </pc:sldChg>
      <pc:sldChg chg="addSp modSp mod">
        <pc:chgData name="Roberto Gallardo" userId="49a044883f185952" providerId="LiveId" clId="{E1570F41-582B-425C-80AE-4466BC4B269C}" dt="2023-03-09T23:28:22.869" v="224" actId="1035"/>
        <pc:sldMkLst>
          <pc:docMk/>
          <pc:sldMk cId="2028175529" sldId="282"/>
        </pc:sldMkLst>
        <pc:picChg chg="add mod">
          <ac:chgData name="Roberto Gallardo" userId="49a044883f185952" providerId="LiveId" clId="{E1570F41-582B-425C-80AE-4466BC4B269C}" dt="2023-03-09T23:28:22.869" v="224" actId="1035"/>
          <ac:picMkLst>
            <pc:docMk/>
            <pc:sldMk cId="2028175529" sldId="282"/>
            <ac:picMk id="7" creationId="{D1F79D64-09D4-D78C-B785-3837CA4AE931}"/>
          </ac:picMkLst>
        </pc:picChg>
      </pc:sldChg>
      <pc:sldChg chg="addSp modSp mod">
        <pc:chgData name="Roberto Gallardo" userId="49a044883f185952" providerId="LiveId" clId="{E1570F41-582B-425C-80AE-4466BC4B269C}" dt="2023-03-09T23:28:41.440" v="257" actId="1036"/>
        <pc:sldMkLst>
          <pc:docMk/>
          <pc:sldMk cId="1326517747" sldId="283"/>
        </pc:sldMkLst>
        <pc:picChg chg="add mod">
          <ac:chgData name="Roberto Gallardo" userId="49a044883f185952" providerId="LiveId" clId="{E1570F41-582B-425C-80AE-4466BC4B269C}" dt="2023-03-09T23:28:41.440" v="257" actId="1036"/>
          <ac:picMkLst>
            <pc:docMk/>
            <pc:sldMk cId="1326517747" sldId="283"/>
            <ac:picMk id="7" creationId="{54CE2541-D183-0A91-FF59-BEC3E604FCCB}"/>
          </ac:picMkLst>
        </pc:picChg>
      </pc:sldChg>
      <pc:sldChg chg="addSp modSp mod">
        <pc:chgData name="Roberto Gallardo" userId="49a044883f185952" providerId="LiveId" clId="{E1570F41-582B-425C-80AE-4466BC4B269C}" dt="2023-03-09T23:28:56.101" v="273" actId="1035"/>
        <pc:sldMkLst>
          <pc:docMk/>
          <pc:sldMk cId="783739251" sldId="284"/>
        </pc:sldMkLst>
        <pc:picChg chg="add mod">
          <ac:chgData name="Roberto Gallardo" userId="49a044883f185952" providerId="LiveId" clId="{E1570F41-582B-425C-80AE-4466BC4B269C}" dt="2023-03-09T23:28:56.101" v="273" actId="1035"/>
          <ac:picMkLst>
            <pc:docMk/>
            <pc:sldMk cId="783739251" sldId="284"/>
            <ac:picMk id="7" creationId="{BC2E59DB-06FC-4A0A-CB44-ED8037D52885}"/>
          </ac:picMkLst>
        </pc:picChg>
      </pc:sldChg>
      <pc:sldChg chg="addSp modSp mod">
        <pc:chgData name="Roberto Gallardo" userId="49a044883f185952" providerId="LiveId" clId="{E1570F41-582B-425C-80AE-4466BC4B269C}" dt="2023-03-09T23:29:17.427" v="302" actId="1035"/>
        <pc:sldMkLst>
          <pc:docMk/>
          <pc:sldMk cId="1676122233" sldId="285"/>
        </pc:sldMkLst>
        <pc:picChg chg="add mod">
          <ac:chgData name="Roberto Gallardo" userId="49a044883f185952" providerId="LiveId" clId="{E1570F41-582B-425C-80AE-4466BC4B269C}" dt="2023-03-09T23:29:17.427" v="302" actId="1035"/>
          <ac:picMkLst>
            <pc:docMk/>
            <pc:sldMk cId="1676122233" sldId="285"/>
            <ac:picMk id="7" creationId="{A529F02D-59E3-F913-9846-CB784E8AC99B}"/>
          </ac:picMkLst>
        </pc:picChg>
      </pc:sldChg>
      <pc:sldChg chg="addSp modSp mod">
        <pc:chgData name="Roberto Gallardo" userId="49a044883f185952" providerId="LiveId" clId="{E1570F41-582B-425C-80AE-4466BC4B269C}" dt="2023-03-09T23:29:32.767" v="321" actId="1036"/>
        <pc:sldMkLst>
          <pc:docMk/>
          <pc:sldMk cId="3100398757" sldId="286"/>
        </pc:sldMkLst>
        <pc:picChg chg="add mod">
          <ac:chgData name="Roberto Gallardo" userId="49a044883f185952" providerId="LiveId" clId="{E1570F41-582B-425C-80AE-4466BC4B269C}" dt="2023-03-09T23:29:32.767" v="321" actId="1036"/>
          <ac:picMkLst>
            <pc:docMk/>
            <pc:sldMk cId="3100398757" sldId="286"/>
            <ac:picMk id="7" creationId="{C749D4D1-9BF0-68D5-2136-BFA972418E25}"/>
          </ac:picMkLst>
        </pc:picChg>
      </pc:sldChg>
      <pc:sldChg chg="addSp modSp mod">
        <pc:chgData name="Roberto Gallardo" userId="49a044883f185952" providerId="LiveId" clId="{E1570F41-582B-425C-80AE-4466BC4B269C}" dt="2023-03-09T23:29:48.920" v="334" actId="1035"/>
        <pc:sldMkLst>
          <pc:docMk/>
          <pc:sldMk cId="1546475425" sldId="287"/>
        </pc:sldMkLst>
        <pc:picChg chg="add mod">
          <ac:chgData name="Roberto Gallardo" userId="49a044883f185952" providerId="LiveId" clId="{E1570F41-582B-425C-80AE-4466BC4B269C}" dt="2023-03-09T23:29:48.920" v="334" actId="1035"/>
          <ac:picMkLst>
            <pc:docMk/>
            <pc:sldMk cId="1546475425" sldId="287"/>
            <ac:picMk id="7" creationId="{2BBB70FE-2997-A42C-783F-CD15057AB3D9}"/>
          </ac:picMkLst>
        </pc:picChg>
      </pc:sldChg>
      <pc:sldChg chg="addSp modSp mod">
        <pc:chgData name="Roberto Gallardo" userId="49a044883f185952" providerId="LiveId" clId="{E1570F41-582B-425C-80AE-4466BC4B269C}" dt="2023-03-09T23:30:19.107" v="370" actId="1035"/>
        <pc:sldMkLst>
          <pc:docMk/>
          <pc:sldMk cId="1380517306" sldId="288"/>
        </pc:sldMkLst>
        <pc:picChg chg="add mod">
          <ac:chgData name="Roberto Gallardo" userId="49a044883f185952" providerId="LiveId" clId="{E1570F41-582B-425C-80AE-4466BC4B269C}" dt="2023-03-09T23:30:19.107" v="370" actId="1035"/>
          <ac:picMkLst>
            <pc:docMk/>
            <pc:sldMk cId="1380517306" sldId="288"/>
            <ac:picMk id="7" creationId="{1FF98AB0-B016-145C-E462-AE28B7379191}"/>
          </ac:picMkLst>
        </pc:picChg>
      </pc:sldChg>
      <pc:sldChg chg="addSp modSp mod">
        <pc:chgData name="Roberto Gallardo" userId="49a044883f185952" providerId="LiveId" clId="{E1570F41-582B-425C-80AE-4466BC4B269C}" dt="2023-03-09T23:30:34.551" v="401" actId="1036"/>
        <pc:sldMkLst>
          <pc:docMk/>
          <pc:sldMk cId="1388671151" sldId="289"/>
        </pc:sldMkLst>
        <pc:picChg chg="add mod">
          <ac:chgData name="Roberto Gallardo" userId="49a044883f185952" providerId="LiveId" clId="{E1570F41-582B-425C-80AE-4466BC4B269C}" dt="2023-03-09T23:30:34.551" v="401" actId="1036"/>
          <ac:picMkLst>
            <pc:docMk/>
            <pc:sldMk cId="1388671151" sldId="289"/>
            <ac:picMk id="7" creationId="{C67B28F7-FECA-0FE4-E2D5-CB1F1396706E}"/>
          </ac:picMkLst>
        </pc:picChg>
      </pc:sldChg>
      <pc:sldChg chg="addSp modSp mod">
        <pc:chgData name="Roberto Gallardo" userId="49a044883f185952" providerId="LiveId" clId="{E1570F41-582B-425C-80AE-4466BC4B269C}" dt="2023-03-09T23:31:07.667" v="441" actId="1036"/>
        <pc:sldMkLst>
          <pc:docMk/>
          <pc:sldMk cId="2355376039" sldId="290"/>
        </pc:sldMkLst>
        <pc:picChg chg="add mod">
          <ac:chgData name="Roberto Gallardo" userId="49a044883f185952" providerId="LiveId" clId="{E1570F41-582B-425C-80AE-4466BC4B269C}" dt="2023-03-09T23:31:07.667" v="441" actId="1036"/>
          <ac:picMkLst>
            <pc:docMk/>
            <pc:sldMk cId="2355376039" sldId="290"/>
            <ac:picMk id="8" creationId="{4D95FE66-414B-FD8D-3501-BF6C979C3BB7}"/>
          </ac:picMkLst>
        </pc:picChg>
      </pc:sldChg>
      <pc:sldChg chg="addSp modSp mod">
        <pc:chgData name="Roberto Gallardo" userId="49a044883f185952" providerId="LiveId" clId="{E1570F41-582B-425C-80AE-4466BC4B269C}" dt="2023-03-09T23:31:23.137" v="465" actId="1036"/>
        <pc:sldMkLst>
          <pc:docMk/>
          <pc:sldMk cId="3757257295" sldId="291"/>
        </pc:sldMkLst>
        <pc:picChg chg="add mod">
          <ac:chgData name="Roberto Gallardo" userId="49a044883f185952" providerId="LiveId" clId="{E1570F41-582B-425C-80AE-4466BC4B269C}" dt="2023-03-09T23:31:23.137" v="465" actId="1036"/>
          <ac:picMkLst>
            <pc:docMk/>
            <pc:sldMk cId="3757257295" sldId="291"/>
            <ac:picMk id="8" creationId="{38CE184B-7D33-CA6E-A66F-861FCFD1BF14}"/>
          </ac:picMkLst>
        </pc:picChg>
      </pc:sldChg>
      <pc:sldChg chg="addSp modSp mod">
        <pc:chgData name="Roberto Gallardo" userId="49a044883f185952" providerId="LiveId" clId="{E1570F41-582B-425C-80AE-4466BC4B269C}" dt="2023-03-09T23:30:01.921" v="343" actId="1035"/>
        <pc:sldMkLst>
          <pc:docMk/>
          <pc:sldMk cId="1259856727" sldId="292"/>
        </pc:sldMkLst>
        <pc:picChg chg="add mod">
          <ac:chgData name="Roberto Gallardo" userId="49a044883f185952" providerId="LiveId" clId="{E1570F41-582B-425C-80AE-4466BC4B269C}" dt="2023-03-09T23:30:01.921" v="343" actId="1035"/>
          <ac:picMkLst>
            <pc:docMk/>
            <pc:sldMk cId="1259856727" sldId="292"/>
            <ac:picMk id="7" creationId="{85116460-C67B-E06C-E2FC-C9B581E88794}"/>
          </ac:picMkLst>
        </pc:picChg>
      </pc:sldChg>
      <pc:sldChg chg="addSp modSp mod">
        <pc:chgData name="Roberto Gallardo" userId="49a044883f185952" providerId="LiveId" clId="{E1570F41-582B-425C-80AE-4466BC4B269C}" dt="2023-03-09T23:27:36.497" v="167" actId="1036"/>
        <pc:sldMkLst>
          <pc:docMk/>
          <pc:sldMk cId="3324519687" sldId="293"/>
        </pc:sldMkLst>
        <pc:picChg chg="add mod">
          <ac:chgData name="Roberto Gallardo" userId="49a044883f185952" providerId="LiveId" clId="{E1570F41-582B-425C-80AE-4466BC4B269C}" dt="2023-03-09T23:27:36.497" v="167" actId="1036"/>
          <ac:picMkLst>
            <pc:docMk/>
            <pc:sldMk cId="3324519687" sldId="293"/>
            <ac:picMk id="7" creationId="{3F60C584-AEE1-0BAC-092C-366262DAF467}"/>
          </ac:picMkLst>
        </pc:picChg>
      </pc:sldChg>
      <pc:sldChg chg="addSp modSp mod">
        <pc:chgData name="Roberto Gallardo" userId="49a044883f185952" providerId="LiveId" clId="{E1570F41-582B-425C-80AE-4466BC4B269C}" dt="2023-03-09T23:26:49.308" v="127" actId="1076"/>
        <pc:sldMkLst>
          <pc:docMk/>
          <pc:sldMk cId="3256182630" sldId="295"/>
        </pc:sldMkLst>
        <pc:picChg chg="add mod">
          <ac:chgData name="Roberto Gallardo" userId="49a044883f185952" providerId="LiveId" clId="{E1570F41-582B-425C-80AE-4466BC4B269C}" dt="2023-03-09T23:26:49.308" v="127" actId="1076"/>
          <ac:picMkLst>
            <pc:docMk/>
            <pc:sldMk cId="3256182630" sldId="295"/>
            <ac:picMk id="7" creationId="{6F124045-C99D-D714-5BEA-DEA8AFBF74F2}"/>
          </ac:picMkLst>
        </pc:picChg>
      </pc:sldChg>
      <pc:sldChg chg="addSp modSp mod">
        <pc:chgData name="Roberto Gallardo" userId="49a044883f185952" providerId="LiveId" clId="{E1570F41-582B-425C-80AE-4466BC4B269C}" dt="2023-03-09T23:27:12.950" v="146" actId="1036"/>
        <pc:sldMkLst>
          <pc:docMk/>
          <pc:sldMk cId="4057156843" sldId="296"/>
        </pc:sldMkLst>
        <pc:picChg chg="add mod">
          <ac:chgData name="Roberto Gallardo" userId="49a044883f185952" providerId="LiveId" clId="{E1570F41-582B-425C-80AE-4466BC4B269C}" dt="2023-03-09T23:27:12.950" v="146" actId="1036"/>
          <ac:picMkLst>
            <pc:docMk/>
            <pc:sldMk cId="4057156843" sldId="296"/>
            <ac:picMk id="7" creationId="{8DFBE805-126B-5B1A-E7E0-008E318D30B7}"/>
          </ac:picMkLst>
        </pc:picChg>
      </pc:sldChg>
      <pc:sldChg chg="addSp modSp mod">
        <pc:chgData name="Roberto Gallardo" userId="49a044883f185952" providerId="LiveId" clId="{E1570F41-582B-425C-80AE-4466BC4B269C}" dt="2023-03-09T23:26:32.620" v="118" actId="1076"/>
        <pc:sldMkLst>
          <pc:docMk/>
          <pc:sldMk cId="2080110827" sldId="297"/>
        </pc:sldMkLst>
        <pc:picChg chg="add mod">
          <ac:chgData name="Roberto Gallardo" userId="49a044883f185952" providerId="LiveId" clId="{E1570F41-582B-425C-80AE-4466BC4B269C}" dt="2023-03-09T23:26:32.620" v="118" actId="1076"/>
          <ac:picMkLst>
            <pc:docMk/>
            <pc:sldMk cId="2080110827" sldId="297"/>
            <ac:picMk id="6" creationId="{34F15C63-5BB4-1F71-DCC3-7A2951419CF2}"/>
          </ac:picMkLst>
        </pc:picChg>
      </pc:sldChg>
      <pc:sldChg chg="addSp modSp mod">
        <pc:chgData name="Roberto Gallardo" userId="49a044883f185952" providerId="LiveId" clId="{E1570F41-582B-425C-80AE-4466BC4B269C}" dt="2023-03-09T23:26:13.672" v="110" actId="1076"/>
        <pc:sldMkLst>
          <pc:docMk/>
          <pc:sldMk cId="1532666867" sldId="298"/>
        </pc:sldMkLst>
        <pc:picChg chg="add mod">
          <ac:chgData name="Roberto Gallardo" userId="49a044883f185952" providerId="LiveId" clId="{E1570F41-582B-425C-80AE-4466BC4B269C}" dt="2023-03-09T23:26:13.672" v="110" actId="1076"/>
          <ac:picMkLst>
            <pc:docMk/>
            <pc:sldMk cId="1532666867" sldId="298"/>
            <ac:picMk id="6" creationId="{8744003B-8042-4E8A-4643-BA8191F1F62A}"/>
          </ac:picMkLst>
        </pc:picChg>
      </pc:sldChg>
      <pc:sldChg chg="addSp modSp mod">
        <pc:chgData name="Roberto Gallardo" userId="49a044883f185952" providerId="LiveId" clId="{E1570F41-582B-425C-80AE-4466BC4B269C}" dt="2023-03-09T23:30:52.264" v="423" actId="1035"/>
        <pc:sldMkLst>
          <pc:docMk/>
          <pc:sldMk cId="1951376777" sldId="299"/>
        </pc:sldMkLst>
        <pc:picChg chg="add mod">
          <ac:chgData name="Roberto Gallardo" userId="49a044883f185952" providerId="LiveId" clId="{E1570F41-582B-425C-80AE-4466BC4B269C}" dt="2023-03-09T23:30:52.264" v="423" actId="1035"/>
          <ac:picMkLst>
            <pc:docMk/>
            <pc:sldMk cId="1951376777" sldId="299"/>
            <ac:picMk id="7" creationId="{FEB82F3A-85E8-8AC9-9DA4-08AB3ADC2201}"/>
          </ac:picMkLst>
        </pc:picChg>
      </pc:sldChg>
      <pc:sldChg chg="modSp mod">
        <pc:chgData name="Roberto Gallardo" userId="49a044883f185952" providerId="LiveId" clId="{E1570F41-582B-425C-80AE-4466BC4B269C}" dt="2023-02-25T19:39:34.455" v="85" actId="14100"/>
        <pc:sldMkLst>
          <pc:docMk/>
          <pc:sldMk cId="2366022307" sldId="306"/>
        </pc:sldMkLst>
        <pc:spChg chg="mod">
          <ac:chgData name="Roberto Gallardo" userId="49a044883f185952" providerId="LiveId" clId="{E1570F41-582B-425C-80AE-4466BC4B269C}" dt="2023-02-25T19:39:19.415" v="61" actId="1035"/>
          <ac:spMkLst>
            <pc:docMk/>
            <pc:sldMk cId="2366022307" sldId="306"/>
            <ac:spMk id="11" creationId="{09F5AE19-B4E3-7788-F25F-CDA80D596DAF}"/>
          </ac:spMkLst>
        </pc:spChg>
        <pc:grpChg chg="mod">
          <ac:chgData name="Roberto Gallardo" userId="49a044883f185952" providerId="LiveId" clId="{E1570F41-582B-425C-80AE-4466BC4B269C}" dt="2023-02-25T19:39:01.516" v="15" actId="1037"/>
          <ac:grpSpMkLst>
            <pc:docMk/>
            <pc:sldMk cId="2366022307" sldId="306"/>
            <ac:grpSpMk id="6" creationId="{4BC0EAD3-A621-359E-F822-1BC272A15D80}"/>
          </ac:grpSpMkLst>
        </pc:grpChg>
        <pc:cxnChg chg="mod">
          <ac:chgData name="Roberto Gallardo" userId="49a044883f185952" providerId="LiveId" clId="{E1570F41-582B-425C-80AE-4466BC4B269C}" dt="2023-02-25T19:39:26.621" v="83" actId="1035"/>
          <ac:cxnSpMkLst>
            <pc:docMk/>
            <pc:sldMk cId="2366022307" sldId="306"/>
            <ac:cxnSpMk id="27" creationId="{F0CF8142-8895-D0A8-A662-E40568742508}"/>
          </ac:cxnSpMkLst>
        </pc:cxnChg>
        <pc:cxnChg chg="mod">
          <ac:chgData name="Roberto Gallardo" userId="49a044883f185952" providerId="LiveId" clId="{E1570F41-582B-425C-80AE-4466BC4B269C}" dt="2023-02-25T19:39:31.462" v="84" actId="14100"/>
          <ac:cxnSpMkLst>
            <pc:docMk/>
            <pc:sldMk cId="2366022307" sldId="306"/>
            <ac:cxnSpMk id="28" creationId="{15C28C80-F0E1-159F-F103-CEA53436F6F9}"/>
          </ac:cxnSpMkLst>
        </pc:cxnChg>
        <pc:cxnChg chg="mod">
          <ac:chgData name="Roberto Gallardo" userId="49a044883f185952" providerId="LiveId" clId="{E1570F41-582B-425C-80AE-4466BC4B269C}" dt="2023-02-25T19:39:34.455" v="85" actId="14100"/>
          <ac:cxnSpMkLst>
            <pc:docMk/>
            <pc:sldMk cId="2366022307" sldId="306"/>
            <ac:cxnSpMk id="29" creationId="{783CFD35-8D28-EF95-B783-8C1E52BEC855}"/>
          </ac:cxnSpMkLst>
        </pc:cxn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9/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9/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9/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9/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9/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9/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9/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9/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9/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9/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9/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9/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9/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Richmond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2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4D818775-E53A-0340-605D-E59C814A6E64}"/>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3E365A98-C418-B95B-8810-28AEB4A8F385}"/>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0016C34C-8B01-235B-60B7-8146BDAD49F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8744003B-8042-4E8A-4643-BA8191F1F62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7632" y="1028700"/>
            <a:ext cx="7600535" cy="5374773"/>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34F15C63-5BB4-1F71-DCC3-7A2951419CF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4554"/>
            <a:ext cx="7602619" cy="537624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0E008358-57CE-D87D-855D-028B300329DB}"/>
              </a:ext>
            </a:extLst>
          </p:cNvPr>
          <p:cNvPicPr preferRelativeResize="0"/>
          <p:nvPr/>
        </p:nvPicPr>
        <p:blipFill>
          <a:blip r:embed="rId2"/>
          <a:stretch>
            <a:fillRect/>
          </a:stretch>
        </p:blipFill>
        <p:spPr>
          <a:xfrm>
            <a:off x="149225" y="1763713"/>
            <a:ext cx="5337175" cy="3829050"/>
          </a:xfrm>
          <a:prstGeom prst="rect">
            <a:avLst/>
          </a:prstGeom>
        </p:spPr>
      </p:pic>
      <p:pic>
        <p:nvPicPr>
          <p:cNvPr id="7" name="Picture 6" descr="Map&#10;&#10;Description automatically generated">
            <a:extLst>
              <a:ext uri="{FF2B5EF4-FFF2-40B4-BE49-F238E27FC236}">
                <a16:creationId xmlns:a16="http://schemas.microsoft.com/office/drawing/2014/main" id="{6F124045-C99D-D714-5BEA-DEA8AFBF74F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1975" y="1415052"/>
            <a:ext cx="6400800" cy="4526372"/>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D432E4E1-906D-2319-A0A3-011049EC3230}"/>
              </a:ext>
            </a:extLst>
          </p:cNvPr>
          <p:cNvPicPr preferRelativeResize="0"/>
          <p:nvPr/>
        </p:nvPicPr>
        <p:blipFill>
          <a:blip r:embed="rId2"/>
          <a:stretch>
            <a:fillRect/>
          </a:stretch>
        </p:blipFill>
        <p:spPr>
          <a:xfrm>
            <a:off x="149225" y="1754188"/>
            <a:ext cx="5372100" cy="3844925"/>
          </a:xfrm>
          <a:prstGeom prst="rect">
            <a:avLst/>
          </a:prstGeom>
        </p:spPr>
      </p:pic>
      <p:pic>
        <p:nvPicPr>
          <p:cNvPr id="7" name="Picture 6" descr="Map&#10;&#10;Description automatically generated">
            <a:extLst>
              <a:ext uri="{FF2B5EF4-FFF2-40B4-BE49-F238E27FC236}">
                <a16:creationId xmlns:a16="http://schemas.microsoft.com/office/drawing/2014/main" id="{8DFBE805-126B-5B1A-E7E0-008E318D30B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323"/>
            <a:ext cx="6400800" cy="4526372"/>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8F094899-B8C2-3A1E-2928-302E5B3F80D4}"/>
              </a:ext>
            </a:extLst>
          </p:cNvPr>
          <p:cNvPicPr preferRelativeResize="0"/>
          <p:nvPr/>
        </p:nvPicPr>
        <p:blipFill>
          <a:blip r:embed="rId2"/>
          <a:stretch>
            <a:fillRect/>
          </a:stretch>
        </p:blipFill>
        <p:spPr>
          <a:xfrm>
            <a:off x="152400" y="1753993"/>
            <a:ext cx="5370513" cy="3844925"/>
          </a:xfrm>
          <a:prstGeom prst="rect">
            <a:avLst/>
          </a:prstGeom>
        </p:spPr>
      </p:pic>
      <p:pic>
        <p:nvPicPr>
          <p:cNvPr id="7" name="Picture 6" descr="Map&#10;&#10;Description automatically generated">
            <a:extLst>
              <a:ext uri="{FF2B5EF4-FFF2-40B4-BE49-F238E27FC236}">
                <a16:creationId xmlns:a16="http://schemas.microsoft.com/office/drawing/2014/main" id="{3F60C584-AEE1-0BAC-092C-366262DAF46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232"/>
            <a:ext cx="6400800" cy="4526372"/>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55999F25-8FBC-24B3-38B2-71D1FC521A22}"/>
              </a:ext>
            </a:extLst>
          </p:cNvPr>
          <p:cNvPicPr preferRelativeResize="0"/>
          <p:nvPr/>
        </p:nvPicPr>
        <p:blipFill>
          <a:blip r:embed="rId2"/>
          <a:stretch>
            <a:fillRect/>
          </a:stretch>
        </p:blipFill>
        <p:spPr>
          <a:xfrm>
            <a:off x="149225" y="1743075"/>
            <a:ext cx="5389563" cy="3865563"/>
          </a:xfrm>
          <a:prstGeom prst="rect">
            <a:avLst/>
          </a:prstGeom>
        </p:spPr>
      </p:pic>
      <p:pic>
        <p:nvPicPr>
          <p:cNvPr id="6" name="Picture 5" descr="Map&#10;&#10;Description automatically generated">
            <a:extLst>
              <a:ext uri="{FF2B5EF4-FFF2-40B4-BE49-F238E27FC236}">
                <a16:creationId xmlns:a16="http://schemas.microsoft.com/office/drawing/2014/main" id="{5DFE7EFE-B3F3-E34A-A826-5D7FE499C88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193"/>
            <a:ext cx="6400800" cy="4526371"/>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9B7EB0A5-AA73-0AD6-63D3-A2901ACA50F7}"/>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D1F79D64-09D4-D78C-B785-3837CA4AE93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60490" y="1436913"/>
            <a:ext cx="6379109" cy="4511033"/>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4C289143-D08C-65DD-2102-475D2413E405}"/>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54CE2541-D183-0A91-FF59-BEC3E604FCC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1075"/>
            <a:ext cx="6404826" cy="4529218"/>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A38797D0-344D-00DA-B85A-5F9229174506}"/>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BC2E59DB-06FC-4A0A-CB44-ED8037D5288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1580"/>
            <a:ext cx="6400801" cy="4526372"/>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C323A2C2-E728-C5A3-9A0A-329BDA609ED8}"/>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A529F02D-59E3-F913-9846-CB784E8AC99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135"/>
            <a:ext cx="6399141" cy="4525199"/>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AED9F3A7-9D55-6955-1057-94F6AA9E8AFE}"/>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C749D4D1-9BF0-68D5-2136-BFA972418E2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12873"/>
            <a:ext cx="6400800" cy="4526371"/>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78075A6E-30B0-84D3-92D1-45A6260CDF5F}"/>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2BBB70FE-2997-A42C-783F-CD15057AB3D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231"/>
            <a:ext cx="6400800" cy="4526371"/>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DA1C2C2D-EEE6-F2D7-D155-4281D7B8C5F6}"/>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85116460-C67B-E06C-E2FC-C9B581E8879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25936"/>
            <a:ext cx="6400800" cy="4526372"/>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EBEB779C-EBCA-1EB9-680F-59598B3AE0F1}"/>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1FF98AB0-B016-145C-E462-AE28B737919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57"/>
            <a:ext cx="6400800" cy="4526371"/>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pic>
        <p:nvPicPr>
          <p:cNvPr id="6" name="Picture 5">
            <a:extLst>
              <a:ext uri="{FF2B5EF4-FFF2-40B4-BE49-F238E27FC236}">
                <a16:creationId xmlns:a16="http://schemas.microsoft.com/office/drawing/2014/main" id="{8C87D542-C583-177E-C964-9E098EF8704A}"/>
              </a:ext>
            </a:extLst>
          </p:cNvPr>
          <p:cNvPicPr preferRelativeResize="0"/>
          <p:nvPr/>
        </p:nvPicPr>
        <p:blipFill>
          <a:blip r:embed="rId2"/>
          <a:stretch>
            <a:fillRect/>
          </a:stretch>
        </p:blipFill>
        <p:spPr>
          <a:xfrm>
            <a:off x="152400" y="1750485"/>
            <a:ext cx="5368611" cy="3850216"/>
          </a:xfrm>
          <a:prstGeom prst="rect">
            <a:avLst/>
          </a:prstGeom>
        </p:spPr>
      </p:pic>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C67B28F7-FECA-0FE4-E2D5-CB1F1396706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15566"/>
            <a:ext cx="6400800" cy="4526372"/>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D7CDFFC4-93F2-6F12-38E0-494D79031F06}"/>
              </a:ext>
            </a:extLst>
          </p:cNvPr>
          <p:cNvPicPr preferRelativeResize="0"/>
          <p:nvPr/>
        </p:nvPicPr>
        <p:blipFill>
          <a:blip r:embed="rId2"/>
          <a:stretch>
            <a:fillRect/>
          </a:stretch>
        </p:blipFill>
        <p:spPr>
          <a:xfrm>
            <a:off x="152400" y="1743075"/>
            <a:ext cx="5407227" cy="3867150"/>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7" name="Picture 6" descr="Map&#10;&#10;Description automatically generated">
            <a:extLst>
              <a:ext uri="{FF2B5EF4-FFF2-40B4-BE49-F238E27FC236}">
                <a16:creationId xmlns:a16="http://schemas.microsoft.com/office/drawing/2014/main" id="{FEB82F3A-85E8-8AC9-9DA4-08AB3ADC220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5962"/>
            <a:ext cx="6400800" cy="4526371"/>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pic>
        <p:nvPicPr>
          <p:cNvPr id="5" name="Picture 4">
            <a:extLst>
              <a:ext uri="{FF2B5EF4-FFF2-40B4-BE49-F238E27FC236}">
                <a16:creationId xmlns:a16="http://schemas.microsoft.com/office/drawing/2014/main" id="{70D263FA-0A58-2757-8523-246C1992FC36}"/>
              </a:ext>
            </a:extLst>
          </p:cNvPr>
          <p:cNvPicPr preferRelativeResize="0"/>
          <p:nvPr/>
        </p:nvPicPr>
        <p:blipFill>
          <a:blip r:embed="rId2"/>
          <a:stretch>
            <a:fillRect/>
          </a:stretch>
        </p:blipFill>
        <p:spPr>
          <a:xfrm>
            <a:off x="152400" y="1749828"/>
            <a:ext cx="5390460" cy="3861010"/>
          </a:xfrm>
          <a:prstGeom prst="rect">
            <a:avLst/>
          </a:prstGeom>
        </p:spPr>
      </p:pic>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Map&#10;&#10;Description automatically generated">
            <a:extLst>
              <a:ext uri="{FF2B5EF4-FFF2-40B4-BE49-F238E27FC236}">
                <a16:creationId xmlns:a16="http://schemas.microsoft.com/office/drawing/2014/main" id="{4D95FE66-414B-FD8D-3501-BF6C979C3BB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17562"/>
            <a:ext cx="6400800" cy="4526372"/>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631D4F24-673C-BFEC-A902-97D8003F3356}"/>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pic>
        <p:nvPicPr>
          <p:cNvPr id="7" name="Picture 6">
            <a:extLst>
              <a:ext uri="{FF2B5EF4-FFF2-40B4-BE49-F238E27FC236}">
                <a16:creationId xmlns:a16="http://schemas.microsoft.com/office/drawing/2014/main" id="{684ED459-C797-C6DB-DADB-5A09BAB6E4F1}"/>
              </a:ext>
            </a:extLst>
          </p:cNvPr>
          <p:cNvPicPr preferRelativeResize="0"/>
          <p:nvPr/>
        </p:nvPicPr>
        <p:blipFill>
          <a:blip r:embed="rId2"/>
          <a:stretch>
            <a:fillRect/>
          </a:stretch>
        </p:blipFill>
        <p:spPr>
          <a:xfrm>
            <a:off x="152399" y="1762247"/>
            <a:ext cx="5332371" cy="3819403"/>
          </a:xfrm>
          <a:prstGeom prst="rect">
            <a:avLst/>
          </a:prstGeom>
        </p:spPr>
      </p:pic>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Map&#10;&#10;Description automatically generated">
            <a:extLst>
              <a:ext uri="{FF2B5EF4-FFF2-40B4-BE49-F238E27FC236}">
                <a16:creationId xmlns:a16="http://schemas.microsoft.com/office/drawing/2014/main" id="{38CE184B-7D33-CA6E-A66F-861FCFD1BF1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56"/>
            <a:ext cx="6400800" cy="4526372"/>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7E054051-C332-4765-4F45-241DED7F63AF}"/>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02C38061-6215-3EC8-EE98-D24CEF988553}"/>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2F4476D-0E69-8E31-DC92-DA67920A4E37}"/>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51951" y="1701514"/>
            <a:ext cx="1198148" cy="2591052"/>
            <a:chOff x="2775759" y="1900958"/>
            <a:chExt cx="1198148" cy="2591052"/>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990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00958"/>
              <a:ext cx="0" cy="8981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91628"/>
              <a:ext cx="0" cy="8003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955243" y="2644063"/>
            <a:ext cx="1198148" cy="2357388"/>
            <a:chOff x="10485745" y="2524212"/>
            <a:chExt cx="1198148" cy="2357388"/>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293659"/>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3.6</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88160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524212"/>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524212"/>
              <a:ext cx="0" cy="76944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4186211"/>
              <a:ext cx="0" cy="69538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5188087" y="1971675"/>
            <a:ext cx="1198148" cy="2248152"/>
            <a:chOff x="2775759" y="2243858"/>
            <a:chExt cx="1198148" cy="2248152"/>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29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438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438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7076257" y="2696275"/>
            <a:ext cx="1198148" cy="2200527"/>
            <a:chOff x="2775759" y="2291483"/>
            <a:chExt cx="1198148" cy="2200527"/>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297052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1.9</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3704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29148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291483"/>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863078"/>
              <a:ext cx="0" cy="62893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497E3654-B2C0-1D77-D554-313ADE0C369F}"/>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6B2A2DE8-C2B4-7941-AB89-88B4DBEDFF65}"/>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B0A98C65-2856-9C2F-7435-9ADBA0DABC64}"/>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6DA2C369-E9FB-7FCD-2E15-9C24FD76CAC7}"/>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B5D32555-098A-9DCD-6389-CF43F12BBDE8}"/>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F00F29E3-EB5B-728B-B6FE-352737AACAA4}"/>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BE407CB1-8388-1FE5-EFBC-94E1E09A855A}"/>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7C359746-7314-9A4D-D141-B8D98480ACE5}"/>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640</TotalTime>
  <Words>1457</Words>
  <Application>Microsoft Office PowerPoint</Application>
  <PresentationFormat>Widescreen</PresentationFormat>
  <Paragraphs>135</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24</cp:revision>
  <dcterms:created xsi:type="dcterms:W3CDTF">2022-07-04T13:32:28Z</dcterms:created>
  <dcterms:modified xsi:type="dcterms:W3CDTF">2023-03-09T23:31:27Z</dcterms:modified>
</cp:coreProperties>
</file>